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6"/>
  </p:notesMasterIdLst>
  <p:handoutMasterIdLst>
    <p:handoutMasterId r:id="rId7"/>
  </p:handoutMasterIdLst>
  <p:sldIdLst>
    <p:sldId id="257" r:id="rId3"/>
    <p:sldId id="259" r:id="rId4"/>
    <p:sldId id="258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DEBOEUF Marie" initials="GM" lastIdx="7" clrIdx="0">
    <p:extLst>
      <p:ext uri="{19B8F6BF-5375-455C-9EA6-DF929625EA0E}">
        <p15:presenceInfo xmlns:p15="http://schemas.microsoft.com/office/powerpoint/2012/main" userId="S-1-5-21-3163637644-1603862540-193579974-760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3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87565" autoAdjust="0"/>
  </p:normalViewPr>
  <p:slideViewPr>
    <p:cSldViewPr snapToGrid="0">
      <p:cViewPr varScale="1">
        <p:scale>
          <a:sx n="60" d="100"/>
          <a:sy n="60" d="100"/>
        </p:scale>
        <p:origin x="932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2" d="100"/>
          <a:sy n="82" d="100"/>
        </p:scale>
        <p:origin x="203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44E54C70-9D95-46E2-8493-7BEB43EAE6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18004D4-6B5A-4EAC-95E6-C9FBB8329B5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A7CC79-3EA3-47D5-9432-E4DEE515EF44}" type="datetimeFigureOut">
              <a:rPr lang="fr-FR" smtClean="0"/>
              <a:t>22/11/2021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262E7F7-2BCF-4D39-A347-B5077F9D17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B8323E3-6426-44E1-A977-3DD6AAE11F2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DB145-C3D8-4849-B591-73DCEE2880D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0927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98B1B2-75BF-4E26-8C2C-204C19F73978}" type="datetimeFigureOut">
              <a:rPr lang="fr-FR" smtClean="0"/>
              <a:t>22/11/2021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F2C3B-CA45-4175-9520-CE406756BE8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88903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54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1AF2CC-CA7A-4160-BCB8-EE1B7E4FB5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1542" y="3081866"/>
            <a:ext cx="11388902" cy="1253061"/>
          </a:xfrm>
        </p:spPr>
        <p:txBody>
          <a:bodyPr anchor="t">
            <a:normAutofit/>
          </a:bodyPr>
          <a:lstStyle>
            <a:lvl1pPr algn="l">
              <a:defRPr sz="42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9E80AB-5566-4154-891E-B4A2B914C0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543" y="4559827"/>
            <a:ext cx="11388902" cy="462662"/>
          </a:xfrm>
        </p:spPr>
        <p:txBody>
          <a:bodyPr>
            <a:noAutofit/>
          </a:bodyPr>
          <a:lstStyle>
            <a:lvl1pPr marL="0" indent="0" algn="l">
              <a:buNone/>
              <a:defRPr sz="3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2BFC73-3D1E-4F51-8954-158EBF717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50400" y="6398170"/>
            <a:ext cx="714828" cy="365125"/>
          </a:xfr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13" name="AutoShape 5"/>
          <p:cNvSpPr>
            <a:spLocks noChangeAspect="1" noChangeArrowheads="1" noTextEdit="1"/>
          </p:cNvSpPr>
          <p:nvPr userDrawn="1"/>
        </p:nvSpPr>
        <p:spPr bwMode="auto">
          <a:xfrm>
            <a:off x="2062163" y="317500"/>
            <a:ext cx="8202612" cy="196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Rectangle 7"/>
          <p:cNvSpPr>
            <a:spLocks noChangeArrowheads="1"/>
          </p:cNvSpPr>
          <p:nvPr userDrawn="1"/>
        </p:nvSpPr>
        <p:spPr bwMode="auto">
          <a:xfrm>
            <a:off x="3629025" y="1449388"/>
            <a:ext cx="277812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2900" b="1" i="0" u="none" strike="noStrike" cap="none" normalizeH="0" baseline="0" smtClean="0">
                <a:ln>
                  <a:noFill/>
                </a:ln>
                <a:solidFill>
                  <a:srgbClr val="3CB6EC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 userDrawn="1"/>
        </p:nvSpPr>
        <p:spPr bwMode="auto">
          <a:xfrm>
            <a:off x="6672263" y="1557338"/>
            <a:ext cx="277812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2900" b="1" i="0" u="none" strike="noStrike" cap="none" normalizeH="0" baseline="0" smtClean="0">
                <a:ln>
                  <a:noFill/>
                </a:ln>
                <a:solidFill>
                  <a:srgbClr val="3CB6EC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 userDrawn="1"/>
        </p:nvSpPr>
        <p:spPr bwMode="auto">
          <a:xfrm>
            <a:off x="9097963" y="1508125"/>
            <a:ext cx="277812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2900" b="1" i="0" u="none" strike="noStrike" cap="none" normalizeH="0" baseline="0" smtClean="0">
                <a:ln>
                  <a:noFill/>
                </a:ln>
                <a:solidFill>
                  <a:srgbClr val="3CB6EC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 userDrawn="1"/>
        </p:nvSpPr>
        <p:spPr bwMode="auto">
          <a:xfrm>
            <a:off x="2062163" y="2012950"/>
            <a:ext cx="146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6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107" name="Picture 11"/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588" y="317500"/>
            <a:ext cx="1458912" cy="146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9" name="Picture 1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395" y="189637"/>
            <a:ext cx="1687512" cy="157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0" name="Picture 14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6575" y="228599"/>
            <a:ext cx="1284287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 27" descr="Le Programme d&amp;#39;investissements d&amp;#39;avenir | Gouvernement.fr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258625"/>
            <a:ext cx="1440000" cy="144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1767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87E2E71-B4D5-4161-8E8F-4CE1E8EAC9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FB25E1FC-3DE7-4AB2-ABE2-142B6DEDDFCD}" type="datetime1">
              <a:rPr lang="fr-FR" smtClean="0"/>
              <a:t>22/11/2021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994512E-A4E3-432B-A9AE-2D9B51832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E40B0F5-2DD9-489D-817B-987E0AFC3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F7133E1-F262-4F00-9CA0-BEAA2CA6BA19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8650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63F8332E-96D7-4962-8D67-873DB7E88E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32" y="234637"/>
            <a:ext cx="4298373" cy="3894401"/>
          </a:xfrm>
          <a:prstGeom prst="rect">
            <a:avLst/>
          </a:prstGeom>
        </p:spPr>
      </p:pic>
      <p:pic>
        <p:nvPicPr>
          <p:cNvPr id="16" name="Graphique 15">
            <a:extLst>
              <a:ext uri="{FF2B5EF4-FFF2-40B4-BE49-F238E27FC236}">
                <a16:creationId xmlns:a16="http://schemas.microsoft.com/office/drawing/2014/main" id="{740748C0-9B94-4E16-844B-BFC559539F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68872" y="522073"/>
            <a:ext cx="1847274" cy="2106542"/>
          </a:xfrm>
          <a:prstGeom prst="rect">
            <a:avLst/>
          </a:prstGeom>
        </p:spPr>
      </p:pic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id="{7C173263-137C-4EFC-BD01-26F8DC39B5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03961" y="4990810"/>
            <a:ext cx="3614277" cy="150018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1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28476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351584" y="0"/>
            <a:ext cx="9505056" cy="8367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195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Insérer un titre</a:t>
            </a:r>
            <a:endParaRPr lang="fr-FR" dirty="0"/>
          </a:p>
        </p:txBody>
      </p:sp>
      <p:sp>
        <p:nvSpPr>
          <p:cNvPr id="11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2351585" y="1124744"/>
            <a:ext cx="9494507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950">
                <a:solidFill>
                  <a:srgbClr val="8EB8CE"/>
                </a:solidFill>
                <a:latin typeface="Trebuchet MS" panose="020B0603020202020204" pitchFamily="34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Insérer un sous-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2834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032699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10711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3" descr="C:\Users\zineb_glila\Desktop\Clients en cours\ADEME\SIG_Investissements_D'avenir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9452705" y="5480774"/>
            <a:ext cx="1242647" cy="1009651"/>
          </a:xfrm>
          <a:prstGeom prst="rect">
            <a:avLst/>
          </a:prstGeom>
          <a:noFill/>
        </p:spPr>
      </p:pic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7" cstate="print"/>
          <a:srcRect l="2307" b="49"/>
          <a:stretch>
            <a:fillRect/>
          </a:stretch>
        </p:blipFill>
        <p:spPr bwMode="gray">
          <a:xfrm rot="16200000">
            <a:off x="-439716" y="439717"/>
            <a:ext cx="6858002" cy="597856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6739284" y="2438400"/>
            <a:ext cx="5103388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2757589" y="3118873"/>
            <a:ext cx="6858001" cy="620261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Gill Sans MT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76377" y="5364242"/>
            <a:ext cx="1362261" cy="122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8335901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658"/>
            <a:ext cx="12192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1" y="4898948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5041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35041" y="898980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12192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Gill Sans MT" pitchFamily="34" charset="0"/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35041" y="4494624"/>
            <a:ext cx="1455616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8423675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496072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102695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351584" y="0"/>
            <a:ext cx="9505056" cy="8367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195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Insérer un titre</a:t>
            </a:r>
            <a:endParaRPr lang="fr-FR" dirty="0"/>
          </a:p>
        </p:txBody>
      </p:sp>
      <p:sp>
        <p:nvSpPr>
          <p:cNvPr id="11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2351585" y="1124744"/>
            <a:ext cx="9494507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950">
                <a:solidFill>
                  <a:srgbClr val="8EB8CE"/>
                </a:solidFill>
                <a:latin typeface="Trebuchet MS" panose="020B0603020202020204" pitchFamily="34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Insérer un sous-titre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449" y="140167"/>
            <a:ext cx="1824203" cy="55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85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>
            <a:extLst>
              <a:ext uri="{FF2B5EF4-FFF2-40B4-BE49-F238E27FC236}">
                <a16:creationId xmlns:a16="http://schemas.microsoft.com/office/drawing/2014/main" id="{ED341190-8E81-4268-82D2-B1594B852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7173931D-BCE5-4DD6-837E-9093D81A36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542" y="1117735"/>
            <a:ext cx="11388916" cy="591425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710B1E8-C169-4C55-A825-20052736C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071578E-28D3-4579-8A85-74823C1E6D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FC36484D-BB1A-474C-B0F5-C8D0C79DA0C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4192D36F-A845-4959-8B50-FB78F7C2E5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28" name="Espace réservé du contenu 5">
            <a:extLst>
              <a:ext uri="{FF2B5EF4-FFF2-40B4-BE49-F238E27FC236}">
                <a16:creationId xmlns:a16="http://schemas.microsoft.com/office/drawing/2014/main" id="{017122FA-9593-403F-B7CA-7E0389A65E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29" name="Espace réservé du contenu 5">
            <a:extLst>
              <a:ext uri="{FF2B5EF4-FFF2-40B4-BE49-F238E27FC236}">
                <a16:creationId xmlns:a16="http://schemas.microsoft.com/office/drawing/2014/main" id="{2FAA6C87-BB8A-4CEF-8DE6-64CB5B6C02F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31057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73931D-BCE5-4DD6-837E-9093D81A3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2766218"/>
            <a:ext cx="11388916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710B1E8-C169-4C55-A825-20052736C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E228966-DD17-49F9-B9BC-484B5A4B3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1" name="Graphique 10">
            <a:extLst>
              <a:ext uri="{FF2B5EF4-FFF2-40B4-BE49-F238E27FC236}">
                <a16:creationId xmlns:a16="http://schemas.microsoft.com/office/drawing/2014/main" id="{CC795930-16B5-40AC-A53B-DB23FCE08B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7F1165D-0DBB-4343-96DD-6E8FA9F6076A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B0B57733-763C-45E9-9A99-1B7E912A7B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969963"/>
            <a:ext cx="12192000" cy="5356225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7171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11388916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05967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2258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60253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Espace réservé du contenu 5">
            <a:extLst>
              <a:ext uri="{FF2B5EF4-FFF2-40B4-BE49-F238E27FC236}">
                <a16:creationId xmlns:a16="http://schemas.microsoft.com/office/drawing/2014/main" id="{BF48DBAD-980E-4784-AD80-364655C537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3" name="Espace réservé du contenu 5">
            <a:extLst>
              <a:ext uri="{FF2B5EF4-FFF2-40B4-BE49-F238E27FC236}">
                <a16:creationId xmlns:a16="http://schemas.microsoft.com/office/drawing/2014/main" id="{04DDA3B4-0E27-46BA-92BD-3D9E90A5EC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2333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1 colonne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11388916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F4446820-0AA1-4B7F-9CDE-D21DCFF984C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28459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2 colonnes v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6459C7A-22DD-4DA0-996C-F27E91BCDD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AC74B510-252F-4777-A78B-388D2B86BA2F}" type="datetime1">
              <a:rPr lang="fr-FR" smtClean="0"/>
              <a:t>22/11/202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2258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CB1A86F2-2898-4FF9-BBB1-4866847F53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62454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3 colonnes v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6459C7A-22DD-4DA0-996C-F27E91BCDD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2EDAE380-707A-4B17-810D-A4D3F1C1ABAA}" type="datetime1">
              <a:rPr lang="fr-FR" smtClean="0"/>
              <a:t>22/11/202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Espace réservé du contenu 5">
            <a:extLst>
              <a:ext uri="{FF2B5EF4-FFF2-40B4-BE49-F238E27FC236}">
                <a16:creationId xmlns:a16="http://schemas.microsoft.com/office/drawing/2014/main" id="{BF48DBAD-980E-4784-AD80-364655C537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3" name="Espace réservé du contenu 5">
            <a:extLst>
              <a:ext uri="{FF2B5EF4-FFF2-40B4-BE49-F238E27FC236}">
                <a16:creationId xmlns:a16="http://schemas.microsoft.com/office/drawing/2014/main" id="{04DDA3B4-0E27-46BA-92BD-3D9E90A5EC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09940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16DB780-74F7-4FC9-9D7D-FA459DE5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365125"/>
            <a:ext cx="1138891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79036DE-422F-44CC-BF88-4B490C5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1542" y="1825625"/>
            <a:ext cx="1138891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0EB3D9-6B18-4640-ADFF-1EE86CD60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0400" y="6370462"/>
            <a:ext cx="7148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07C99ADF-20A6-40EF-AAB9-F326D6E12C60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9709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52" r:id="rId6"/>
    <p:sldLayoutId id="2147483663" r:id="rId7"/>
    <p:sldLayoutId id="2147483664" r:id="rId8"/>
    <p:sldLayoutId id="2147483665" r:id="rId9"/>
    <p:sldLayoutId id="2147483655" r:id="rId10"/>
    <p:sldLayoutId id="2147483651" r:id="rId11"/>
    <p:sldLayoutId id="2147483666" r:id="rId12"/>
    <p:sldLayoutId id="2147483667" r:id="rId13"/>
    <p:sldLayoutId id="2147483668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 userDrawn="1"/>
        </p:nvSpPr>
        <p:spPr bwMode="gray">
          <a:xfrm>
            <a:off x="1" y="6457086"/>
            <a:ext cx="12194450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latin typeface="Gill Sans MT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1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977168" y="6405431"/>
            <a:ext cx="436929" cy="355005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 bwMode="gray">
          <a:xfrm>
            <a:off x="109646" y="6508387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schemeClr val="bg1"/>
                </a:solidFill>
                <a:latin typeface="Gill Sans MT" pitchFamily="34" charset="0"/>
              </a:rPr>
              <a:pPr algn="r"/>
              <a:t>‹N°›</a:t>
            </a:fld>
            <a:endParaRPr lang="fr-FR" sz="800" dirty="0">
              <a:solidFill>
                <a:schemeClr val="bg1"/>
              </a:solidFill>
              <a:latin typeface="Gill Sans MT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640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23645" y="6371535"/>
            <a:ext cx="464378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ZoneTexte 9"/>
          <p:cNvSpPr txBox="1"/>
          <p:nvPr userDrawn="1"/>
        </p:nvSpPr>
        <p:spPr>
          <a:xfrm>
            <a:off x="1442433" y="6413678"/>
            <a:ext cx="82583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solidFill>
                  <a:schemeClr val="bg1"/>
                </a:solidFill>
              </a:rPr>
              <a:t>Déploiement</a:t>
            </a:r>
            <a:r>
              <a:rPr lang="fr-FR" sz="1050" baseline="0" dirty="0" smtClean="0">
                <a:solidFill>
                  <a:schemeClr val="bg1"/>
                </a:solidFill>
              </a:rPr>
              <a:t> DEEP Concours d’innovation Vague 4 - 12092019</a:t>
            </a:r>
            <a:endParaRPr lang="fr-FR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319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C40FB52E-9197-4F2E-B2FF-74FA20ED86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711" y="2390204"/>
            <a:ext cx="11388902" cy="731851"/>
          </a:xfrm>
        </p:spPr>
        <p:txBody>
          <a:bodyPr>
            <a:normAutofit fontScale="90000"/>
          </a:bodyPr>
          <a:lstStyle/>
          <a:p>
            <a:r>
              <a:rPr lang="fr-FR" dirty="0"/>
              <a:t> </a:t>
            </a:r>
            <a:r>
              <a:rPr lang="fr-FR" dirty="0" smtClean="0"/>
              <a:t>AAP «</a:t>
            </a:r>
            <a:r>
              <a:rPr lang="fr-FR" dirty="0" err="1" smtClean="0"/>
              <a:t>IBaC</a:t>
            </a:r>
            <a:r>
              <a:rPr lang="fr-FR" dirty="0" smtClean="0"/>
              <a:t>  </a:t>
            </a:r>
            <a:r>
              <a:rPr lang="fr-FR" dirty="0"/>
              <a:t>PME</a:t>
            </a:r>
            <a:r>
              <a:rPr lang="fr-FR" dirty="0" smtClean="0"/>
              <a:t>» : Développement </a:t>
            </a:r>
            <a:r>
              <a:rPr lang="fr-FR" dirty="0"/>
              <a:t>de briques technologiques et services par des PME pour la </a:t>
            </a:r>
            <a:r>
              <a:rPr lang="fr-FR" dirty="0" err="1"/>
              <a:t>décarbonation</a:t>
            </a:r>
            <a:r>
              <a:rPr lang="fr-FR" dirty="0"/>
              <a:t> de l’industrie </a:t>
            </a:r>
            <a:br>
              <a:rPr lang="fr-FR" dirty="0"/>
            </a:b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Projet XXX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286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188891" y="134314"/>
            <a:ext cx="11388916" cy="1325563"/>
          </a:xfrm>
        </p:spPr>
        <p:txBody>
          <a:bodyPr/>
          <a:lstStyle/>
          <a:p>
            <a:r>
              <a:rPr lang="fr-FR" altLang="fr-FR" dirty="0" smtClean="0"/>
              <a:t>Projet XXX</a:t>
            </a:r>
            <a:br>
              <a:rPr lang="fr-FR" altLang="fr-FR" dirty="0" smtClean="0"/>
            </a:br>
            <a:r>
              <a:rPr lang="fr-FR" altLang="fr-FR" dirty="0" smtClean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  <a:endParaRPr lang="fr-FR" altLang="fr-FR" sz="1400" dirty="0">
              <a:latin typeface="+mj-lt"/>
            </a:endParaRP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  <a:endParaRPr lang="fr-FR" altLang="fr-FR" sz="1200" dirty="0">
              <a:latin typeface="+mj-lt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  <a:endParaRPr lang="fr-FR" altLang="fr-FR" sz="1400" dirty="0">
              <a:latin typeface="+mj-lt"/>
            </a:endParaRP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</a:t>
            </a:r>
            <a:r>
              <a:rPr lang="fr-FR" altLang="fr-FR" sz="1200" dirty="0"/>
              <a:t>commercialisés à l’issue du projet </a:t>
            </a:r>
            <a:r>
              <a:rPr lang="fr-FR" altLang="fr-FR" sz="1200" dirty="0"/>
              <a:t>: ?</a:t>
            </a:r>
            <a:endParaRPr lang="fr-FR" altLang="fr-FR" sz="1200" dirty="0"/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  <a:endParaRPr lang="fr-FR" altLang="fr-FR" sz="1400" dirty="0">
              <a:latin typeface="+mj-lt"/>
            </a:endParaRP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  <a:endParaRPr lang="fr-FR" altLang="fr-FR" sz="1200" dirty="0">
              <a:latin typeface="+mj-lt"/>
              <a:ea typeface="+mn-ea"/>
            </a:endParaRP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</a:t>
            </a:r>
            <a:r>
              <a:rPr lang="fr-FR" altLang="fr-FR" sz="1200" dirty="0">
                <a:latin typeface="+mj-lt"/>
                <a:ea typeface="+mn-ea"/>
              </a:rPr>
              <a:t>XXX</a:t>
            </a:r>
            <a:endParaRPr lang="fr-FR" altLang="fr-FR" sz="1200" dirty="0">
              <a:latin typeface="+mj-lt"/>
              <a:ea typeface="+mn-ea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4214168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 smtClean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</a:t>
                      </a:r>
                      <a:endParaRPr lang="fr-FR" sz="1200" kern="1200" dirty="0" smtClean="0">
                        <a:solidFill>
                          <a:schemeClr val="tx1"/>
                        </a:solidFill>
                        <a:latin typeface="+mj-lt"/>
                        <a:ea typeface="ＭＳ Ｐゴシック" charset="-128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5999106" y="117739"/>
            <a:ext cx="49151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1159307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3</a:t>
            </a:fld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671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ADEME">
      <a:dk1>
        <a:sysClr val="windowText" lastClr="000000"/>
      </a:dk1>
      <a:lt1>
        <a:sysClr val="window" lastClr="FFFFFF"/>
      </a:lt1>
      <a:dk2>
        <a:srgbClr val="169B62"/>
      </a:dk2>
      <a:lt2>
        <a:srgbClr val="466964"/>
      </a:lt2>
      <a:accent1>
        <a:srgbClr val="5770BE"/>
      </a:accent1>
      <a:accent2>
        <a:srgbClr val="484D7A"/>
      </a:accent2>
      <a:accent3>
        <a:srgbClr val="FF8D7E"/>
      </a:accent3>
      <a:accent4>
        <a:srgbClr val="FFE800"/>
      </a:accent4>
      <a:accent5>
        <a:srgbClr val="FF9940"/>
      </a:accent5>
      <a:accent6>
        <a:srgbClr val="FF6F4C"/>
      </a:accent6>
      <a:hlink>
        <a:srgbClr val="7D4E5B"/>
      </a:hlink>
      <a:folHlink>
        <a:srgbClr val="A26859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320_ADEME_Masque PPT Arial.pptx [Lecture seule]" id="{2C70ABF1-A830-4F25-86D2-0526B50EC19D}" vid="{57811D07-33D5-43AE-8025-39FCACA17539}"/>
    </a:ext>
  </a:extLst>
</a:theme>
</file>

<file path=ppt/theme/theme2.xml><?xml version="1.0" encoding="utf-8"?>
<a:theme xmlns:a="http://schemas.openxmlformats.org/drawingml/2006/main" name="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_bleu-16_9</Template>
  <TotalTime>1455</TotalTime>
  <Words>101</Words>
  <Application>Microsoft Office PowerPoint</Application>
  <PresentationFormat>Grand écran</PresentationFormat>
  <Paragraphs>21</Paragraphs>
  <Slides>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3" baseType="lpstr">
      <vt:lpstr>ＭＳ Ｐゴシック</vt:lpstr>
      <vt:lpstr>Arial</vt:lpstr>
      <vt:lpstr>Calibri</vt:lpstr>
      <vt:lpstr>Gill Sans MT</vt:lpstr>
      <vt:lpstr>Trebuchet MS</vt:lpstr>
      <vt:lpstr>Wingdings</vt:lpstr>
      <vt:lpstr>Wingdings 2</vt:lpstr>
      <vt:lpstr>Thème Office</vt:lpstr>
      <vt:lpstr>Default Theme</vt:lpstr>
      <vt:lpstr>think-cell Slide</vt:lpstr>
      <vt:lpstr> AAP «IBaC  PME» : Développement de briques technologiques et services par des PME pour la décarbonation de l’industrie   Projet XXX</vt:lpstr>
      <vt:lpstr>Projet XXX AAP visé : XXXXX</vt:lpstr>
      <vt:lpstr>Présentation PowerPoint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ploiement services techniques DEEP  Concours d’innovation i-Nov (CI) Vague 5</dc:title>
  <dc:creator>GANDEBOEUF Marie</dc:creator>
  <cp:lastModifiedBy>KERDONCUFF Pierre</cp:lastModifiedBy>
  <cp:revision>50</cp:revision>
  <cp:lastPrinted>2020-03-31T11:48:13Z</cp:lastPrinted>
  <dcterms:created xsi:type="dcterms:W3CDTF">2020-03-30T15:34:04Z</dcterms:created>
  <dcterms:modified xsi:type="dcterms:W3CDTF">2021-11-22T16:13:58Z</dcterms:modified>
</cp:coreProperties>
</file>